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10693400" cy="75565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  <p:embeddedFont>
      <p:font typeface="Plus Jakarta Sans SemiBold" pitchFamily="2" charset="0"/>
      <p:bold r:id="rId7"/>
      <p:bold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26BF"/>
    <a:srgbClr val="6747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67" autoAdjust="0"/>
    <p:restoredTop sz="94622" autoAdjust="0"/>
  </p:normalViewPr>
  <p:slideViewPr>
    <p:cSldViewPr>
      <p:cViewPr>
        <p:scale>
          <a:sx n="75" d="100"/>
          <a:sy n="75" d="100"/>
        </p:scale>
        <p:origin x="1566" y="5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0" userDrawn="1">
          <p15:clr>
            <a:srgbClr val="FBAE40"/>
          </p15:clr>
        </p15:guide>
        <p15:guide id="2" pos="336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0" userDrawn="1">
          <p15:clr>
            <a:srgbClr val="F26B43"/>
          </p15:clr>
        </p15:guide>
        <p15:guide id="2" pos="3368" userDrawn="1">
          <p15:clr>
            <a:srgbClr val="F26B43"/>
          </p15:clr>
        </p15:guide>
        <p15:guide id="3" pos="6736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7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47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Meeting #2">
            <a:extLst>
              <a:ext uri="{FF2B5EF4-FFF2-40B4-BE49-F238E27FC236}">
                <a16:creationId xmlns:a16="http://schemas.microsoft.com/office/drawing/2014/main" id="{BADBBE1B-DFBD-799B-0135-65FA5FA0F1E5}"/>
              </a:ext>
            </a:extLst>
          </p:cNvPr>
          <p:cNvGrpSpPr/>
          <p:nvPr/>
        </p:nvGrpSpPr>
        <p:grpSpPr>
          <a:xfrm>
            <a:off x="0" y="0"/>
            <a:ext cx="10693400" cy="7563022"/>
            <a:chOff x="0" y="0"/>
            <a:chExt cx="10693400" cy="7563022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AC27E14-28E6-2228-1F8E-127FC2B9162E}"/>
                </a:ext>
              </a:extLst>
            </p:cNvPr>
            <p:cNvGrpSpPr/>
            <p:nvPr/>
          </p:nvGrpSpPr>
          <p:grpSpPr>
            <a:xfrm>
              <a:off x="0" y="0"/>
              <a:ext cx="10692003" cy="7563022"/>
              <a:chOff x="0" y="0"/>
              <a:chExt cx="10692003" cy="7563022"/>
            </a:xfrm>
          </p:grpSpPr>
          <p:sp>
            <p:nvSpPr>
              <p:cNvPr id="2" name="Background image"/>
              <p:cNvSpPr/>
              <p:nvPr/>
            </p:nvSpPr>
            <p:spPr>
              <a:xfrm>
                <a:off x="5796" y="0"/>
                <a:ext cx="10686204" cy="3662425"/>
              </a:xfrm>
              <a:custGeom>
                <a:avLst/>
                <a:gdLst/>
                <a:ahLst/>
                <a:cxnLst/>
                <a:rect l="l" t="t" r="r" b="b"/>
                <a:pathLst>
                  <a:path w="10686204" h="3662425">
                    <a:moveTo>
                      <a:pt x="0" y="0"/>
                    </a:moveTo>
                    <a:lnTo>
                      <a:pt x="10686204" y="0"/>
                    </a:lnTo>
                    <a:lnTo>
                      <a:pt x="10686204" y="3662425"/>
                    </a:lnTo>
                    <a:lnTo>
                      <a:pt x="0" y="366242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19999"/>
                </a:blip>
                <a:stretch>
                  <a:fillRect t="-47381" b="-4738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54" name="Circle lines">
                <a:extLst>
                  <a:ext uri="{FF2B5EF4-FFF2-40B4-BE49-F238E27FC236}">
                    <a16:creationId xmlns:a16="http://schemas.microsoft.com/office/drawing/2014/main" id="{888E1733-BB25-4BC4-85F8-4E7F54EDFCA7}"/>
                  </a:ext>
                </a:extLst>
              </p:cNvPr>
              <p:cNvGrpSpPr/>
              <p:nvPr/>
            </p:nvGrpSpPr>
            <p:grpSpPr>
              <a:xfrm>
                <a:off x="513340" y="0"/>
                <a:ext cx="9665320" cy="7563022"/>
                <a:chOff x="513340" y="0"/>
                <a:chExt cx="9665320" cy="7563022"/>
              </a:xfrm>
            </p:grpSpPr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53C8A1FC-103B-1391-5EEC-67CC6F08F1D3}"/>
                    </a:ext>
                  </a:extLst>
                </p:cNvPr>
                <p:cNvSpPr/>
                <p:nvPr/>
              </p:nvSpPr>
              <p:spPr>
                <a:xfrm>
                  <a:off x="1007065" y="471340"/>
                  <a:ext cx="8677870" cy="7091682"/>
                </a:xfrm>
                <a:custGeom>
                  <a:avLst/>
                  <a:gdLst>
                    <a:gd name="connsiteX0" fmla="*/ 4338935 w 8677870"/>
                    <a:gd name="connsiteY0" fmla="*/ 0 h 7091682"/>
                    <a:gd name="connsiteX1" fmla="*/ 8677870 w 8677870"/>
                    <a:gd name="connsiteY1" fmla="*/ 4338935 h 7091682"/>
                    <a:gd name="connsiteX2" fmla="*/ 7815879 w 8677870"/>
                    <a:gd name="connsiteY2" fmla="*/ 6934991 h 7091682"/>
                    <a:gd name="connsiteX3" fmla="*/ 7692744 w 8677870"/>
                    <a:gd name="connsiteY3" fmla="*/ 7091682 h 7091682"/>
                    <a:gd name="connsiteX4" fmla="*/ 985126 w 8677870"/>
                    <a:gd name="connsiteY4" fmla="*/ 7091682 h 7091682"/>
                    <a:gd name="connsiteX5" fmla="*/ 861991 w 8677870"/>
                    <a:gd name="connsiteY5" fmla="*/ 6934991 h 7091682"/>
                    <a:gd name="connsiteX6" fmla="*/ 0 w 8677870"/>
                    <a:gd name="connsiteY6" fmla="*/ 4338935 h 7091682"/>
                    <a:gd name="connsiteX7" fmla="*/ 4338935 w 8677870"/>
                    <a:gd name="connsiteY7" fmla="*/ 0 h 70916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677870" h="7091682">
                      <a:moveTo>
                        <a:pt x="4338935" y="0"/>
                      </a:moveTo>
                      <a:cubicBezTo>
                        <a:pt x="6735268" y="0"/>
                        <a:pt x="8677870" y="1942603"/>
                        <a:pt x="8677870" y="4338935"/>
                      </a:cubicBezTo>
                      <a:cubicBezTo>
                        <a:pt x="8677870" y="5312445"/>
                        <a:pt x="8357265" y="6211072"/>
                        <a:pt x="7815879" y="6934991"/>
                      </a:cubicBezTo>
                      <a:lnTo>
                        <a:pt x="7692744" y="7091682"/>
                      </a:lnTo>
                      <a:lnTo>
                        <a:pt x="985126" y="7091682"/>
                      </a:lnTo>
                      <a:lnTo>
                        <a:pt x="861991" y="6934991"/>
                      </a:lnTo>
                      <a:cubicBezTo>
                        <a:pt x="320605" y="6211072"/>
                        <a:pt x="0" y="5312445"/>
                        <a:pt x="0" y="4338935"/>
                      </a:cubicBezTo>
                      <a:cubicBezTo>
                        <a:pt x="0" y="1942603"/>
                        <a:pt x="1942602" y="0"/>
                        <a:pt x="4338935" y="0"/>
                      </a:cubicBez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4F7FF">
                      <a:alpha val="49804"/>
                    </a:srgbClr>
                  </a:solidFill>
                  <a:prstDash val="solid"/>
                  <a:miter/>
                </a:ln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A24055F3-D777-957E-9AB2-50740A894DA3}"/>
                    </a:ext>
                  </a:extLst>
                </p:cNvPr>
                <p:cNvSpPr/>
                <p:nvPr/>
              </p:nvSpPr>
              <p:spPr>
                <a:xfrm>
                  <a:off x="513340" y="0"/>
                  <a:ext cx="9665320" cy="7563022"/>
                </a:xfrm>
                <a:custGeom>
                  <a:avLst/>
                  <a:gdLst>
                    <a:gd name="connsiteX0" fmla="*/ 4832660 w 9665320"/>
                    <a:gd name="connsiteY0" fmla="*/ 0 h 7563022"/>
                    <a:gd name="connsiteX1" fmla="*/ 9665320 w 9665320"/>
                    <a:gd name="connsiteY1" fmla="*/ 4832660 h 7563022"/>
                    <a:gd name="connsiteX2" fmla="*/ 8839979 w 9665320"/>
                    <a:gd name="connsiteY2" fmla="*/ 7534649 h 7563022"/>
                    <a:gd name="connsiteX3" fmla="*/ 8819802 w 9665320"/>
                    <a:gd name="connsiteY3" fmla="*/ 7563022 h 7563022"/>
                    <a:gd name="connsiteX4" fmla="*/ 845518 w 9665320"/>
                    <a:gd name="connsiteY4" fmla="*/ 7563022 h 7563022"/>
                    <a:gd name="connsiteX5" fmla="*/ 825341 w 9665320"/>
                    <a:gd name="connsiteY5" fmla="*/ 7534649 h 7563022"/>
                    <a:gd name="connsiteX6" fmla="*/ 0 w 9665320"/>
                    <a:gd name="connsiteY6" fmla="*/ 4832660 h 7563022"/>
                    <a:gd name="connsiteX7" fmla="*/ 4832660 w 9665320"/>
                    <a:gd name="connsiteY7" fmla="*/ 0 h 7563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665320" h="7563022">
                      <a:moveTo>
                        <a:pt x="4832660" y="0"/>
                      </a:moveTo>
                      <a:cubicBezTo>
                        <a:pt x="7501670" y="0"/>
                        <a:pt x="9665320" y="2163650"/>
                        <a:pt x="9665320" y="4832660"/>
                      </a:cubicBezTo>
                      <a:cubicBezTo>
                        <a:pt x="9665320" y="5833539"/>
                        <a:pt x="9361057" y="6763352"/>
                        <a:pt x="8839979" y="7534649"/>
                      </a:cubicBezTo>
                      <a:lnTo>
                        <a:pt x="8819802" y="7563022"/>
                      </a:lnTo>
                      <a:lnTo>
                        <a:pt x="845518" y="7563022"/>
                      </a:lnTo>
                      <a:lnTo>
                        <a:pt x="825341" y="7534649"/>
                      </a:lnTo>
                      <a:cubicBezTo>
                        <a:pt x="304263" y="6763352"/>
                        <a:pt x="0" y="5833539"/>
                        <a:pt x="0" y="4832660"/>
                      </a:cubicBezTo>
                      <a:cubicBezTo>
                        <a:pt x="0" y="2163650"/>
                        <a:pt x="2163650" y="0"/>
                        <a:pt x="4832660" y="0"/>
                      </a:cubicBez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525" cap="sq">
                  <a:solidFill>
                    <a:srgbClr val="F4F7FF">
                      <a:alpha val="19608"/>
                    </a:srgbClr>
                  </a:solidFill>
                  <a:prstDash val="solid"/>
                  <a:miter/>
                </a:ln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0" name="Background-removed image"/>
              <p:cNvSpPr/>
              <p:nvPr/>
            </p:nvSpPr>
            <p:spPr>
              <a:xfrm>
                <a:off x="5796" y="0"/>
                <a:ext cx="10686204" cy="3662425"/>
              </a:xfrm>
              <a:custGeom>
                <a:avLst/>
                <a:gdLst/>
                <a:ahLst/>
                <a:cxnLst/>
                <a:rect l="l" t="t" r="r" b="b"/>
                <a:pathLst>
                  <a:path w="10686204" h="3662425">
                    <a:moveTo>
                      <a:pt x="0" y="0"/>
                    </a:moveTo>
                    <a:lnTo>
                      <a:pt x="10686204" y="0"/>
                    </a:lnTo>
                    <a:lnTo>
                      <a:pt x="10686204" y="3662425"/>
                    </a:lnTo>
                    <a:lnTo>
                      <a:pt x="0" y="366242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alphaModFix amt="90000"/>
                </a:blip>
                <a:stretch>
                  <a:fillRect t="-47381" b="-4738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Gradient mask"/>
              <p:cNvSpPr/>
              <p:nvPr/>
            </p:nvSpPr>
            <p:spPr>
              <a:xfrm>
                <a:off x="1959430" y="0"/>
                <a:ext cx="6471500" cy="5222666"/>
              </a:xfrm>
              <a:custGeom>
                <a:avLst/>
                <a:gdLst/>
                <a:ahLst/>
                <a:cxnLst/>
                <a:rect l="l" t="t" r="r" b="b"/>
                <a:pathLst>
                  <a:path w="6471500" h="6471500">
                    <a:moveTo>
                      <a:pt x="0" y="0"/>
                    </a:moveTo>
                    <a:lnTo>
                      <a:pt x="6471500" y="0"/>
                    </a:lnTo>
                    <a:lnTo>
                      <a:pt x="6471500" y="6471499"/>
                    </a:lnTo>
                    <a:lnTo>
                      <a:pt x="0" y="647149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t="-23912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Gradient Overlay"/>
              <p:cNvSpPr/>
              <p:nvPr/>
            </p:nvSpPr>
            <p:spPr>
              <a:xfrm>
                <a:off x="5796" y="2108947"/>
                <a:ext cx="10686204" cy="1553477"/>
              </a:xfrm>
              <a:custGeom>
                <a:avLst/>
                <a:gdLst/>
                <a:ahLst/>
                <a:cxnLst/>
                <a:rect l="l" t="t" r="r" b="b"/>
                <a:pathLst>
                  <a:path w="3829694" h="556731">
                    <a:moveTo>
                      <a:pt x="0" y="0"/>
                    </a:moveTo>
                    <a:lnTo>
                      <a:pt x="3829694" y="0"/>
                    </a:lnTo>
                    <a:lnTo>
                      <a:pt x="3829694" y="556731"/>
                    </a:lnTo>
                    <a:lnTo>
                      <a:pt x="0" y="55673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74738">
                      <a:alpha val="0"/>
                    </a:srgbClr>
                  </a:gs>
                  <a:gs pos="100000">
                    <a:srgbClr val="674738">
                      <a:alpha val="100000"/>
                    </a:srgbClr>
                  </a:gs>
                </a:gsLst>
                <a:lin ang="5400000"/>
              </a:gra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Mask"/>
              <p:cNvSpPr/>
              <p:nvPr/>
            </p:nvSpPr>
            <p:spPr>
              <a:xfrm>
                <a:off x="0" y="3662425"/>
                <a:ext cx="10692003" cy="3897575"/>
              </a:xfrm>
              <a:custGeom>
                <a:avLst/>
                <a:gdLst/>
                <a:ahLst/>
                <a:cxnLst/>
                <a:rect l="l" t="t" r="r" b="b"/>
                <a:pathLst>
                  <a:path w="3831772" h="1396803">
                    <a:moveTo>
                      <a:pt x="0" y="0"/>
                    </a:moveTo>
                    <a:lnTo>
                      <a:pt x="3831772" y="0"/>
                    </a:lnTo>
                    <a:lnTo>
                      <a:pt x="3831772" y="1396803"/>
                    </a:lnTo>
                    <a:lnTo>
                      <a:pt x="0" y="1396803"/>
                    </a:lnTo>
                    <a:close/>
                  </a:path>
                </a:pathLst>
              </a:custGeom>
              <a:solidFill>
                <a:srgbClr val="674738"/>
              </a:solid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9" name="Text">
              <a:extLst>
                <a:ext uri="{FF2B5EF4-FFF2-40B4-BE49-F238E27FC236}">
                  <a16:creationId xmlns:a16="http://schemas.microsoft.com/office/drawing/2014/main" id="{0CB31178-A2F1-8562-A578-396DBA190CB0}"/>
                </a:ext>
              </a:extLst>
            </p:cNvPr>
            <p:cNvGrpSpPr/>
            <p:nvPr/>
          </p:nvGrpSpPr>
          <p:grpSpPr>
            <a:xfrm>
              <a:off x="501979" y="7065726"/>
              <a:ext cx="9683647" cy="153760"/>
              <a:chOff x="500809" y="7065726"/>
              <a:chExt cx="9683647" cy="153760"/>
            </a:xfrm>
          </p:grpSpPr>
          <p:sp>
            <p:nvSpPr>
              <p:cNvPr id="37" name="Conference Hall B, 500 Innovation Parkway, Silicon Valley, CA 94027, USA"/>
              <p:cNvSpPr txBox="1"/>
              <p:nvPr/>
            </p:nvSpPr>
            <p:spPr>
              <a:xfrm>
                <a:off x="500809" y="7065726"/>
                <a:ext cx="4388692" cy="15376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l"/>
                <a:r>
                  <a:rPr lang="en-US" sz="999" spc="-19" dirty="0">
                    <a:solidFill>
                      <a:srgbClr val="FFFFFF">
                        <a:alpha val="80000"/>
                      </a:srgbClr>
                    </a:solidFill>
                    <a:latin typeface="Plus Jakarta Sans SemiBold" pitchFamily="2" charset="0"/>
                    <a:ea typeface="Plus Jakarta Sans 1 Semi-Bold"/>
                    <a:cs typeface="Plus Jakarta Sans SemiBold" pitchFamily="2" charset="0"/>
                    <a:sym typeface="Plus Jakarta Sans 1 Semi-Bold"/>
                  </a:rPr>
                  <a:t>Conference Hall B, 500 Innovation Parkway, Silicon Valley, CA 94027, USA</a:t>
                </a:r>
              </a:p>
            </p:txBody>
          </p:sp>
          <p:sp>
            <p:nvSpPr>
              <p:cNvPr id="38" name="Virtual Option | Join via Microsoft Teams (Access Code: 987654321)"/>
              <p:cNvSpPr txBox="1"/>
              <p:nvPr/>
            </p:nvSpPr>
            <p:spPr>
              <a:xfrm>
                <a:off x="6024637" y="7065726"/>
                <a:ext cx="4159819" cy="15376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r"/>
                <a:r>
                  <a:rPr lang="en-US" sz="999" spc="-19" dirty="0">
                    <a:solidFill>
                      <a:srgbClr val="FFFFFF">
                        <a:alpha val="80000"/>
                      </a:srgbClr>
                    </a:solidFill>
                    <a:latin typeface="Plus Jakarta Sans SemiBold" pitchFamily="2" charset="0"/>
                    <a:ea typeface="Plus Jakarta Sans 1 Semi-Bold"/>
                    <a:cs typeface="Plus Jakarta Sans SemiBold" pitchFamily="2" charset="0"/>
                    <a:sym typeface="Plus Jakarta Sans 1 Semi-Bold"/>
                  </a:rPr>
                  <a:t>Virtual Option | </a:t>
                </a:r>
                <a:r>
                  <a:rPr lang="en-US" sz="999" spc="-19" dirty="0">
                    <a:solidFill>
                      <a:srgbClr val="FFFFFF">
                        <a:alpha val="80000"/>
                      </a:srgbClr>
                    </a:solidFill>
                    <a:latin typeface="Plus Jakarta Sans" pitchFamily="2" charset="0"/>
                    <a:ea typeface="Plus Jakarta Sans 1"/>
                    <a:cs typeface="Plus Jakarta Sans" pitchFamily="2" charset="0"/>
                    <a:sym typeface="Plus Jakarta Sans 1"/>
                  </a:rPr>
                  <a:t>Join via Microsoft Teams (Access Code: 987654321)</a:t>
                </a:r>
              </a:p>
            </p:txBody>
          </p:sp>
        </p:grpSp>
        <p:grpSp>
          <p:nvGrpSpPr>
            <p:cNvPr id="44" name="Gradients">
              <a:extLst>
                <a:ext uri="{FF2B5EF4-FFF2-40B4-BE49-F238E27FC236}">
                  <a16:creationId xmlns:a16="http://schemas.microsoft.com/office/drawing/2014/main" id="{87FE1365-9D5F-AC29-8E5C-3C2E524D1C4D}"/>
                </a:ext>
              </a:extLst>
            </p:cNvPr>
            <p:cNvGrpSpPr/>
            <p:nvPr/>
          </p:nvGrpSpPr>
          <p:grpSpPr>
            <a:xfrm>
              <a:off x="0" y="0"/>
              <a:ext cx="10693400" cy="7556500"/>
              <a:chOff x="0" y="0"/>
              <a:chExt cx="10693400" cy="7556500"/>
            </a:xfrm>
          </p:grpSpPr>
          <p:sp>
            <p:nvSpPr>
              <p:cNvPr id="18" name="Gradient"/>
              <p:cNvSpPr/>
              <p:nvPr/>
            </p:nvSpPr>
            <p:spPr>
              <a:xfrm>
                <a:off x="7460548" y="4131885"/>
                <a:ext cx="3232852" cy="3424615"/>
              </a:xfrm>
              <a:custGeom>
                <a:avLst/>
                <a:gdLst/>
                <a:ahLst/>
                <a:cxnLst/>
                <a:rect l="l" t="t" r="r" b="b"/>
                <a:pathLst>
                  <a:path w="6471500" h="6471500">
                    <a:moveTo>
                      <a:pt x="0" y="0"/>
                    </a:moveTo>
                    <a:lnTo>
                      <a:pt x="6471500" y="0"/>
                    </a:lnTo>
                    <a:lnTo>
                      <a:pt x="6471500" y="6471500"/>
                    </a:lnTo>
                    <a:lnTo>
                      <a:pt x="0" y="64715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7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l="2" r="-100181" b="-8897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Gradient"/>
              <p:cNvSpPr/>
              <p:nvPr/>
            </p:nvSpPr>
            <p:spPr>
              <a:xfrm>
                <a:off x="0" y="0"/>
                <a:ext cx="3241546" cy="3235750"/>
              </a:xfrm>
              <a:custGeom>
                <a:avLst/>
                <a:gdLst/>
                <a:ahLst/>
                <a:cxnLst/>
                <a:rect l="l" t="t" r="r" b="b"/>
                <a:pathLst>
                  <a:path w="6471500" h="6471500">
                    <a:moveTo>
                      <a:pt x="0" y="0"/>
                    </a:moveTo>
                    <a:lnTo>
                      <a:pt x="6471500" y="0"/>
                    </a:lnTo>
                    <a:lnTo>
                      <a:pt x="6471500" y="6471500"/>
                    </a:lnTo>
                    <a:lnTo>
                      <a:pt x="0" y="64715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8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l="-99642" t="-10000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8" name="Text">
              <a:extLst>
                <a:ext uri="{FF2B5EF4-FFF2-40B4-BE49-F238E27FC236}">
                  <a16:creationId xmlns:a16="http://schemas.microsoft.com/office/drawing/2014/main" id="{01C846B7-92BA-AF1A-BA2B-4E8394816F29}"/>
                </a:ext>
              </a:extLst>
            </p:cNvPr>
            <p:cNvGrpSpPr/>
            <p:nvPr/>
          </p:nvGrpSpPr>
          <p:grpSpPr>
            <a:xfrm>
              <a:off x="2102094" y="646125"/>
              <a:ext cx="6469449" cy="2298175"/>
              <a:chOff x="2102094" y="646125"/>
              <a:chExt cx="6469449" cy="2298175"/>
            </a:xfrm>
          </p:grpSpPr>
          <p:sp>
            <p:nvSpPr>
              <p:cNvPr id="19" name="Meeting"/>
              <p:cNvSpPr txBox="1"/>
              <p:nvPr/>
            </p:nvSpPr>
            <p:spPr>
              <a:xfrm>
                <a:off x="2760937" y="854402"/>
                <a:ext cx="5171527" cy="172354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11200" spc="-896" dirty="0">
                    <a:solidFill>
                      <a:srgbClr val="FFFFFF"/>
                    </a:solidFill>
                    <a:latin typeface="Plus Jakarta Sans SemiBold" pitchFamily="2" charset="0"/>
                    <a:ea typeface="Plus Jakarta Sans 1 Semi-Bold"/>
                    <a:cs typeface="Plus Jakarta Sans SemiBold" pitchFamily="2" charset="0"/>
                    <a:sym typeface="Plus Jakarta Sans 1 Semi-Bold"/>
                  </a:rPr>
                  <a:t>Meeting</a:t>
                </a: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8BBA9A6F-675F-E8A6-3664-3824EA9D9BB9}"/>
                  </a:ext>
                </a:extLst>
              </p:cNvPr>
              <p:cNvGrpSpPr/>
              <p:nvPr/>
            </p:nvGrpSpPr>
            <p:grpSpPr>
              <a:xfrm>
                <a:off x="2102094" y="646125"/>
                <a:ext cx="1715879" cy="411134"/>
                <a:chOff x="2102094" y="646125"/>
                <a:chExt cx="1715879" cy="411134"/>
              </a:xfrm>
            </p:grpSpPr>
            <p:sp>
              <p:nvSpPr>
                <p:cNvPr id="22" name="Freeform 22"/>
                <p:cNvSpPr/>
                <p:nvPr/>
              </p:nvSpPr>
              <p:spPr>
                <a:xfrm>
                  <a:off x="2102094" y="646125"/>
                  <a:ext cx="1715879" cy="41113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291E1D">
                    <a:alpha val="69804"/>
                  </a:srgbClr>
                </a:solidFill>
                <a:ln cap="rnd">
                  <a:noFill/>
                  <a:prstDash val="solid"/>
                  <a:rou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" name="Sign up Sheet"/>
                <p:cNvSpPr txBox="1"/>
                <p:nvPr/>
              </p:nvSpPr>
              <p:spPr>
                <a:xfrm>
                  <a:off x="2465730" y="742597"/>
                  <a:ext cx="988608" cy="19717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/>
                  <a:r>
                    <a:rPr lang="en-US" sz="1250" spc="-99" dirty="0">
                      <a:solidFill>
                        <a:srgbClr val="FFFFFF"/>
                      </a:solidFill>
                      <a:latin typeface="Plus Jakarta Sans SemiBold" pitchFamily="2" charset="0"/>
                      <a:ea typeface="Plus Jakarta Sans 1 Semi-Bold"/>
                      <a:cs typeface="Plus Jakarta Sans SemiBold" pitchFamily="2" charset="0"/>
                      <a:sym typeface="Plus Jakarta Sans 1 Semi-Bold"/>
                    </a:rPr>
                    <a:t>Sign up</a:t>
                  </a:r>
                  <a:r>
                    <a:rPr lang="vi-VN" sz="1250" spc="-99" dirty="0">
                      <a:solidFill>
                        <a:srgbClr val="FFFFFF"/>
                      </a:solidFill>
                      <a:latin typeface="Plus Jakarta Sans SemiBold" pitchFamily="2" charset="0"/>
                      <a:ea typeface="Plus Jakarta Sans 1 Semi-Bold"/>
                      <a:cs typeface="Plus Jakarta Sans SemiBold" pitchFamily="2" charset="0"/>
                      <a:sym typeface="Plus Jakarta Sans 1 Semi-Bold"/>
                    </a:rPr>
                    <a:t> </a:t>
                  </a:r>
                  <a:r>
                    <a:rPr lang="en-US" sz="1250" spc="-99" dirty="0">
                      <a:solidFill>
                        <a:srgbClr val="FFFFFF"/>
                      </a:solidFill>
                      <a:latin typeface="Plus Jakarta Sans SemiBold" pitchFamily="2" charset="0"/>
                      <a:ea typeface="Plus Jakarta Sans 1 Semi-Bold"/>
                      <a:cs typeface="Plus Jakarta Sans SemiBold" pitchFamily="2" charset="0"/>
                      <a:sym typeface="Plus Jakarta Sans 1 Semi-Bold"/>
                    </a:rPr>
                    <a:t>Sheet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5A22586D-C67D-5FAF-4199-6CABA93F7A83}"/>
                  </a:ext>
                </a:extLst>
              </p:cNvPr>
              <p:cNvGrpSpPr/>
              <p:nvPr/>
            </p:nvGrpSpPr>
            <p:grpSpPr>
              <a:xfrm>
                <a:off x="4168123" y="2533166"/>
                <a:ext cx="2355754" cy="411134"/>
                <a:chOff x="4168123" y="2533166"/>
                <a:chExt cx="2355754" cy="411134"/>
              </a:xfrm>
            </p:grpSpPr>
            <p:sp>
              <p:nvSpPr>
                <p:cNvPr id="28" name="Freeform 28"/>
                <p:cNvSpPr/>
                <p:nvPr/>
              </p:nvSpPr>
              <p:spPr>
                <a:xfrm>
                  <a:off x="4168123" y="2533166"/>
                  <a:ext cx="2355754" cy="41113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291E1D">
                    <a:alpha val="69804"/>
                  </a:srgbClr>
                </a:solidFill>
                <a:ln cap="rnd">
                  <a:noFill/>
                  <a:prstDash val="solid"/>
                  <a:rou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0" name="10:00 AM – 12:30 PM"/>
                <p:cNvSpPr txBox="1"/>
                <p:nvPr/>
              </p:nvSpPr>
              <p:spPr>
                <a:xfrm>
                  <a:off x="4667363" y="2629638"/>
                  <a:ext cx="1357274" cy="19717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/>
                  <a:r>
                    <a:rPr lang="en-US" sz="1250" spc="-99" dirty="0">
                      <a:solidFill>
                        <a:srgbClr val="FFFFFF"/>
                      </a:solidFill>
                      <a:latin typeface="Plus Jakarta Sans SemiBold" pitchFamily="2" charset="0"/>
                      <a:ea typeface="Plus Jakarta Sans 1 Semi-Bold"/>
                      <a:cs typeface="Plus Jakarta Sans SemiBold" pitchFamily="2" charset="0"/>
                      <a:sym typeface="Plus Jakarta Sans 1 Semi-Bold"/>
                    </a:rPr>
                    <a:t>10:00 AM – 12:30 PM</a:t>
                  </a: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07C8275A-6EE4-A935-6248-999FC9600A3B}"/>
                  </a:ext>
                </a:extLst>
              </p:cNvPr>
              <p:cNvGrpSpPr/>
              <p:nvPr/>
            </p:nvGrpSpPr>
            <p:grpSpPr>
              <a:xfrm>
                <a:off x="6523877" y="851692"/>
                <a:ext cx="2047666" cy="411134"/>
                <a:chOff x="6523877" y="851692"/>
                <a:chExt cx="2047666" cy="411134"/>
              </a:xfrm>
            </p:grpSpPr>
            <p:sp>
              <p:nvSpPr>
                <p:cNvPr id="33" name="Freeform 33"/>
                <p:cNvSpPr/>
                <p:nvPr/>
              </p:nvSpPr>
              <p:spPr>
                <a:xfrm>
                  <a:off x="6523877" y="851692"/>
                  <a:ext cx="2047666" cy="41113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291E1D">
                    <a:alpha val="69804"/>
                  </a:srgbClr>
                </a:solidFill>
                <a:ln cap="rnd">
                  <a:noFill/>
                  <a:prstDash val="solid"/>
                  <a:rou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February 10, 2025"/>
                <p:cNvSpPr txBox="1"/>
                <p:nvPr/>
              </p:nvSpPr>
              <p:spPr>
                <a:xfrm>
                  <a:off x="6957826" y="948164"/>
                  <a:ext cx="1179768" cy="19717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/>
                  <a:r>
                    <a:rPr lang="en-US" sz="1250" spc="-99" dirty="0">
                      <a:solidFill>
                        <a:srgbClr val="FFFFFF"/>
                      </a:solidFill>
                      <a:latin typeface="Plus Jakarta Sans SemiBold" pitchFamily="2" charset="0"/>
                      <a:ea typeface="Plus Jakarta Sans 1 Semi-Bold"/>
                      <a:cs typeface="Plus Jakarta Sans SemiBold" pitchFamily="2" charset="0"/>
                      <a:sym typeface="Plus Jakarta Sans 1 Semi-Bold"/>
                    </a:rPr>
                    <a:t>February 10, 2025</a:t>
                  </a:r>
                </a:p>
              </p:txBody>
            </p:sp>
          </p:grpSp>
        </p:grpSp>
        <p:sp>
          <p:nvSpPr>
            <p:cNvPr id="9" name="QuickSignup"/>
            <p:cNvSpPr/>
            <p:nvPr/>
          </p:nvSpPr>
          <p:spPr>
            <a:xfrm rot="5400000">
              <a:off x="10086047" y="1468057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4"/>
                  </a:lnTo>
                  <a:lnTo>
                    <a:pt x="0" y="1332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36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43353"/>
              </p:ext>
            </p:extLst>
          </p:nvPr>
        </p:nvGraphicFramePr>
        <p:xfrm>
          <a:off x="507774" y="3548629"/>
          <a:ext cx="9677853" cy="3410064"/>
        </p:xfrm>
        <a:graphic>
          <a:graphicData uri="http://schemas.openxmlformats.org/drawingml/2006/table">
            <a:tbl>
              <a:tblPr/>
              <a:tblGrid>
                <a:gridCol w="1957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66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3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31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96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81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  <a:defRPr/>
                      </a:pPr>
                      <a:r>
                        <a:rPr lang="en-US" sz="900" b="0" spc="-25" dirty="0">
                          <a:solidFill>
                            <a:srgbClr val="FFFFFF"/>
                          </a:solidFill>
                          <a:latin typeface="Plus Jakarta Sans SemiBold" pitchFamily="2" charset="0"/>
                          <a:ea typeface="Plus Jakarta Sans 1 Semi-Bold"/>
                          <a:cs typeface="Plus Jakarta Sans SemiBold" pitchFamily="2" charset="0"/>
                          <a:sym typeface="Plus Jakarta Sans 1 Semi-Bold"/>
                        </a:rPr>
                        <a:t>Full Name</a:t>
                      </a:r>
                      <a:endParaRPr lang="en-US" sz="900" b="0" dirty="0">
                        <a:latin typeface="Plus Jakarta Sans SemiBold" pitchFamily="2" charset="0"/>
                        <a:cs typeface="Plus Jakarta Sans SemiBold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1E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  <a:defRPr/>
                      </a:pPr>
                      <a:r>
                        <a:rPr lang="en-US" sz="900" b="0" spc="-25" dirty="0">
                          <a:solidFill>
                            <a:srgbClr val="FFFFFF"/>
                          </a:solidFill>
                          <a:latin typeface="Plus Jakarta Sans SemiBold" pitchFamily="2" charset="0"/>
                          <a:ea typeface="Plus Jakarta Sans 1 Semi-Bold"/>
                          <a:cs typeface="Plus Jakarta Sans SemiBold" pitchFamily="2" charset="0"/>
                          <a:sym typeface="Plus Jakarta Sans 1 Semi-Bold"/>
                        </a:rPr>
                        <a:t>Phone</a:t>
                      </a:r>
                      <a:endParaRPr lang="en-US" sz="900" b="0" dirty="0">
                        <a:latin typeface="Plus Jakarta Sans SemiBold" pitchFamily="2" charset="0"/>
                        <a:cs typeface="Plus Jakarta Sans SemiBold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1E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  <a:defRPr/>
                      </a:pPr>
                      <a:r>
                        <a:rPr lang="en-US" sz="900" b="0" spc="-25" dirty="0">
                          <a:solidFill>
                            <a:srgbClr val="FFFFFF"/>
                          </a:solidFill>
                          <a:latin typeface="Plus Jakarta Sans SemiBold" pitchFamily="2" charset="0"/>
                          <a:ea typeface="Plus Jakarta Sans 1 Semi-Bold"/>
                          <a:cs typeface="Plus Jakarta Sans SemiBold" pitchFamily="2" charset="0"/>
                          <a:sym typeface="Plus Jakarta Sans 1 Semi-Bold"/>
                        </a:rPr>
                        <a:t>Email</a:t>
                      </a:r>
                      <a:endParaRPr lang="en-US" sz="900" b="0" dirty="0">
                        <a:latin typeface="Plus Jakarta Sans SemiBold" pitchFamily="2" charset="0"/>
                        <a:cs typeface="Plus Jakarta Sans SemiBold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1E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  <a:defRPr/>
                      </a:pPr>
                      <a:r>
                        <a:rPr lang="en-US" sz="900" b="0" spc="-25" dirty="0">
                          <a:solidFill>
                            <a:srgbClr val="FFFFFF"/>
                          </a:solidFill>
                          <a:latin typeface="Plus Jakarta Sans SemiBold" pitchFamily="2" charset="0"/>
                          <a:ea typeface="Plus Jakarta Sans 1 Semi-Bold"/>
                          <a:cs typeface="Plus Jakarta Sans SemiBold" pitchFamily="2" charset="0"/>
                          <a:sym typeface="Plus Jakarta Sans 1 Semi-Bold"/>
                        </a:rPr>
                        <a:t>Department</a:t>
                      </a:r>
                      <a:endParaRPr lang="en-US" sz="900" b="0" dirty="0">
                        <a:latin typeface="Plus Jakarta Sans SemiBold" pitchFamily="2" charset="0"/>
                        <a:cs typeface="Plus Jakarta Sans SemiBold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1E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  <a:defRPr/>
                      </a:pPr>
                      <a:r>
                        <a:rPr lang="en-US" sz="900" b="0" spc="-25" dirty="0">
                          <a:solidFill>
                            <a:srgbClr val="FFFFFF"/>
                          </a:solidFill>
                          <a:latin typeface="Plus Jakarta Sans SemiBold" pitchFamily="2" charset="0"/>
                          <a:ea typeface="Plus Jakarta Sans 1 Semi-Bold"/>
                          <a:cs typeface="Plus Jakarta Sans SemiBold" pitchFamily="2" charset="0"/>
                          <a:sym typeface="Plus Jakarta Sans 1 Semi-Bold"/>
                        </a:rPr>
                        <a:t>Position</a:t>
                      </a:r>
                      <a:endParaRPr lang="en-US" sz="900" b="0" dirty="0">
                        <a:latin typeface="Plus Jakarta Sans SemiBold" pitchFamily="2" charset="0"/>
                        <a:cs typeface="Plus Jakarta Sans SemiBold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1E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  <a:defRPr/>
                      </a:pPr>
                      <a:r>
                        <a:rPr lang="en-US" sz="900" b="0" spc="-25" dirty="0">
                          <a:solidFill>
                            <a:srgbClr val="FFFFFF"/>
                          </a:solidFill>
                          <a:latin typeface="Plus Jakarta Sans SemiBold" pitchFamily="2" charset="0"/>
                          <a:ea typeface="Plus Jakarta Sans 1 Semi-Bold"/>
                          <a:cs typeface="Plus Jakarta Sans SemiBold" pitchFamily="2" charset="0"/>
                          <a:sym typeface="Plus Jakarta Sans 1 Semi-Bold"/>
                        </a:rPr>
                        <a:t>Confirmation</a:t>
                      </a:r>
                      <a:endParaRPr lang="en-US" sz="900" b="0" dirty="0">
                        <a:latin typeface="Plus Jakarta Sans SemiBold" pitchFamily="2" charset="0"/>
                        <a:cs typeface="Plus Jakarta Sans SemiBold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1E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1E1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8896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solidFill>
                          <a:srgbClr val="674738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0" marR="0" marT="0" marB="0" anchor="ctr">
                    <a:lnL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49" cap="flat" cmpd="sng" algn="ctr">
                      <a:solidFill>
                        <a:srgbClr val="D5D1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48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Plus Jakarta Sans SemiBold</vt:lpstr>
      <vt:lpstr>Plus Jakarta Sans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eting, New Year’s Potluck, Potluck (Landscape)</dc:title>
  <dc:creator>Hoang Anh</dc:creator>
  <cp:lastModifiedBy>Hoang Anh</cp:lastModifiedBy>
  <cp:revision>28</cp:revision>
  <dcterms:created xsi:type="dcterms:W3CDTF">2006-08-16T00:00:00Z</dcterms:created>
  <dcterms:modified xsi:type="dcterms:W3CDTF">2025-01-17T10:12:11Z</dcterms:modified>
  <dc:identifier>DAGcDDA9jOs</dc:identifier>
</cp:coreProperties>
</file>